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71" r:id="rId2"/>
  </p:sldIdLst>
  <p:sldSz cx="12195175" cy="6858000"/>
  <p:notesSz cx="6797675" cy="9928225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>
          <p15:clr>
            <a:srgbClr val="A4A3A4"/>
          </p15:clr>
        </p15:guide>
        <p15:guide id="3" pos="144">
          <p15:clr>
            <a:srgbClr val="A4A3A4"/>
          </p15:clr>
        </p15:guide>
        <p15:guide id="4" pos="1278">
          <p15:clr>
            <a:srgbClr val="A4A3A4"/>
          </p15:clr>
        </p15:guide>
        <p15:guide id="5" pos="1392">
          <p15:clr>
            <a:srgbClr val="A4A3A4"/>
          </p15:clr>
        </p15:guide>
        <p15:guide id="6" pos="2526">
          <p15:clr>
            <a:srgbClr val="A4A3A4"/>
          </p15:clr>
        </p15:guide>
        <p15:guide id="7" pos="2639">
          <p15:clr>
            <a:srgbClr val="A4A3A4"/>
          </p15:clr>
        </p15:guide>
        <p15:guide id="8" pos="3773">
          <p15:clr>
            <a:srgbClr val="A4A3A4"/>
          </p15:clr>
        </p15:guide>
        <p15:guide id="9" pos="3886">
          <p15:clr>
            <a:srgbClr val="A4A3A4"/>
          </p15:clr>
        </p15:guide>
        <p15:guide id="10" pos="5020" userDrawn="1">
          <p15:clr>
            <a:srgbClr val="A4A3A4"/>
          </p15:clr>
        </p15:guide>
        <p15:guide id="11" pos="5134">
          <p15:clr>
            <a:srgbClr val="A4A3A4"/>
          </p15:clr>
        </p15:guide>
        <p15:guide id="12" pos="6268">
          <p15:clr>
            <a:srgbClr val="A4A3A4"/>
          </p15:clr>
        </p15:guide>
        <p15:guide id="13" pos="6381">
          <p15:clr>
            <a:srgbClr val="A4A3A4"/>
          </p15:clr>
        </p15:guide>
        <p15:guide id="14" pos="7515">
          <p15:clr>
            <a:srgbClr val="A4A3A4"/>
          </p15:clr>
        </p15:guide>
        <p15:guide id="15" orient="horz" pos="40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4164" userDrawn="1">
          <p15:clr>
            <a:srgbClr val="A4A3A4"/>
          </p15:clr>
        </p15:guide>
        <p15:guide id="3" pos="25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ehlmann, Nicole" initials="DN" lastIdx="23" clrIdx="0"/>
  <p:cmAuthor id="2" name="Jenny.F" initials="JF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D88A6"/>
    <a:srgbClr val="FFFFFF"/>
    <a:srgbClr val="000000"/>
    <a:srgbClr val="004060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6" autoAdjust="0"/>
    <p:restoredTop sz="93423" autoAdjust="0"/>
  </p:normalViewPr>
  <p:slideViewPr>
    <p:cSldViewPr snapToGrid="0" snapToObjects="1">
      <p:cViewPr varScale="1">
        <p:scale>
          <a:sx n="162" d="100"/>
          <a:sy n="162" d="100"/>
        </p:scale>
        <p:origin x="100" y="148"/>
      </p:cViewPr>
      <p:guideLst>
        <p:guide orient="horz" pos="1026"/>
        <p:guide pos="144"/>
        <p:guide pos="1278"/>
        <p:guide pos="1392"/>
        <p:guide pos="2526"/>
        <p:guide pos="2639"/>
        <p:guide pos="3773"/>
        <p:guide pos="3886"/>
        <p:guide pos="5020"/>
        <p:guide pos="5134"/>
        <p:guide pos="6268"/>
        <p:guide pos="6381"/>
        <p:guide pos="7515"/>
        <p:guide orient="horz" pos="40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39" d="100"/>
          <a:sy n="39" d="100"/>
        </p:scale>
        <p:origin x="1644" y="36"/>
      </p:cViewPr>
      <p:guideLst>
        <p:guide orient="horz" pos="3127"/>
        <p:guide pos="4164"/>
        <p:guide pos="25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0E6BAB-D761-4C66-B228-B41E9EAB1795}" type="datetimeFigureOut">
              <a:rPr lang="de-DE" smtClean="0"/>
              <a:t>15.03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B926AF-43B9-4A78-B238-882444948A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55617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theme" Target="../theme/theme2.xml"/><Relationship Id="rId4" Type="http://schemas.openxmlformats.org/officeDocument/2006/relationships/image" Target="../media/image5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350" y="252413"/>
            <a:ext cx="6408738" cy="360427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86316" y="4703699"/>
            <a:ext cx="6224109" cy="50129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17646402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26000" indent="-126000" algn="l" defTabSz="914400" rtl="0" eaLnBrk="1" latinLnBrk="0" hangingPunct="1">
      <a:spcBef>
        <a:spcPts val="800"/>
      </a:spcBef>
      <a:buFontTx/>
      <a:buBlip>
        <a:blip r:embed="rId2"/>
      </a:buBlip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52000" indent="-126000" algn="l" defTabSz="914400" rtl="0" eaLnBrk="1" latinLnBrk="0" hangingPunct="1">
      <a:spcBef>
        <a:spcPts val="400"/>
      </a:spcBef>
      <a:buFontTx/>
      <a:buBlip>
        <a:blip r:embed="rId3"/>
      </a:buBlip>
      <a:defRPr lang="de-DE" sz="10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378000" indent="-108000" algn="l" defTabSz="914400" rtl="0" eaLnBrk="1" latinLnBrk="0" hangingPunct="1">
      <a:spcBef>
        <a:spcPts val="400"/>
      </a:spcBef>
      <a:buFontTx/>
      <a:buBlip>
        <a:blip r:embed="rId4"/>
      </a:buBlip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360363" indent="0" algn="l" defTabSz="914400" rtl="0" eaLnBrk="1" latinLnBrk="0" hangingPunct="1">
      <a:spcBef>
        <a:spcPts val="400"/>
      </a:spcBef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6pPr>
    <a:lvl7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7pPr>
    <a:lvl8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8pPr>
    <a:lvl9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252413"/>
            <a:ext cx="6408738" cy="3603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94388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5813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shpPict0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2307" y="453204"/>
            <a:ext cx="892968" cy="765122"/>
          </a:xfrm>
          <a:prstGeom prst="rect">
            <a:avLst/>
          </a:prstGeom>
        </p:spPr>
      </p:pic>
      <p:sp>
        <p:nvSpPr>
          <p:cNvPr id="17" name="Bildplatzhalter 1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52400" y="165100"/>
            <a:ext cx="11888788" cy="6438900"/>
          </a:xfrm>
          <a:custGeom>
            <a:avLst/>
            <a:gdLst>
              <a:gd name="connsiteX0" fmla="*/ 10831123 w 11888788"/>
              <a:gd name="connsiteY0" fmla="*/ 303790 h 6438900"/>
              <a:gd name="connsiteX1" fmla="*/ 10703560 w 11888788"/>
              <a:gd name="connsiteY1" fmla="*/ 1027390 h 6438900"/>
              <a:gd name="connsiteX2" fmla="*/ 11426778 w 11888788"/>
              <a:gd name="connsiteY2" fmla="*/ 1027390 h 6438900"/>
              <a:gd name="connsiteX3" fmla="*/ 11554341 w 11888788"/>
              <a:gd name="connsiteY3" fmla="*/ 303790 h 6438900"/>
              <a:gd name="connsiteX4" fmla="*/ 0 w 11888788"/>
              <a:gd name="connsiteY4" fmla="*/ 0 h 6438900"/>
              <a:gd name="connsiteX5" fmla="*/ 11888788 w 11888788"/>
              <a:gd name="connsiteY5" fmla="*/ 0 h 6438900"/>
              <a:gd name="connsiteX6" fmla="*/ 11888788 w 11888788"/>
              <a:gd name="connsiteY6" fmla="*/ 6438900 h 6438900"/>
              <a:gd name="connsiteX7" fmla="*/ 0 w 11888788"/>
              <a:gd name="connsiteY7" fmla="*/ 6438900 h 643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88788" h="6438900">
                <a:moveTo>
                  <a:pt x="10831123" y="303790"/>
                </a:moveTo>
                <a:lnTo>
                  <a:pt x="10703560" y="1027390"/>
                </a:lnTo>
                <a:lnTo>
                  <a:pt x="11426778" y="1027390"/>
                </a:lnTo>
                <a:lnTo>
                  <a:pt x="11554341" y="303790"/>
                </a:lnTo>
                <a:close/>
                <a:moveTo>
                  <a:pt x="0" y="0"/>
                </a:moveTo>
                <a:lnTo>
                  <a:pt x="11888788" y="0"/>
                </a:lnTo>
                <a:lnTo>
                  <a:pt x="11888788" y="6438900"/>
                </a:lnTo>
                <a:lnTo>
                  <a:pt x="0" y="6438900"/>
                </a:lnTo>
                <a:close/>
              </a:path>
            </a:pathLst>
          </a:custGeom>
          <a:noFill/>
        </p:spPr>
        <p:txBody>
          <a:bodyPr wrap="square" lIns="108000" tIns="108000" rIns="0">
            <a:noAutofit/>
          </a:bodyPr>
          <a:lstStyle>
            <a:lvl1pPr>
              <a:spcBef>
                <a:spcPts val="0"/>
              </a:spcBef>
              <a:defRPr sz="1600" baseline="0"/>
            </a:lvl1pPr>
          </a:lstStyle>
          <a:p>
            <a:r>
              <a:rPr lang="de-DE" dirty="0"/>
              <a:t>Bildplatzhalter anklicken, </a:t>
            </a:r>
            <a:br>
              <a:rPr lang="de-DE" dirty="0"/>
            </a:br>
            <a:r>
              <a:rPr lang="de-DE" dirty="0"/>
              <a:t>über Einfügen/Grafik Bild auswählen.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438450" y="1700808"/>
            <a:ext cx="7268292" cy="1536162"/>
          </a:xfrm>
        </p:spPr>
        <p:txBody>
          <a:bodyPr/>
          <a:lstStyle>
            <a:lvl1pPr rtl="0"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Dies ist ein Platzhaltertext für Ihren Titel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38450" y="3443526"/>
            <a:ext cx="7268292" cy="1059193"/>
          </a:xfrm>
        </p:spPr>
        <p:txBody>
          <a:bodyPr/>
          <a:lstStyle>
            <a:lvl1pPr marL="0" indent="0" algn="l" rtl="0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Dies ist ein Platzhaltertext für Ihren Untertitel</a:t>
            </a:r>
          </a:p>
          <a:p>
            <a:r>
              <a:rPr lang="de-DE" dirty="0"/>
              <a:t>Ort | Datum | Referent</a:t>
            </a: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154447" y="6603687"/>
            <a:ext cx="11886739" cy="92388"/>
            <a:chOff x="154447" y="6603687"/>
            <a:chExt cx="11886739" cy="92388"/>
          </a:xfrm>
        </p:grpSpPr>
        <p:sp>
          <p:nvSpPr>
            <p:cNvPr id="10" name="Rechteck 9"/>
            <p:cNvSpPr>
              <a:spLocks/>
            </p:cNvSpPr>
            <p:nvPr/>
          </p:nvSpPr>
          <p:spPr bwMode="gray">
            <a:xfrm>
              <a:off x="1853405" y="6603687"/>
              <a:ext cx="1697963" cy="92388"/>
            </a:xfrm>
            <a:prstGeom prst="rect">
              <a:avLst/>
            </a:prstGeom>
            <a:solidFill>
              <a:srgbClr val="CD4F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1" name="Rechteck 10"/>
            <p:cNvSpPr>
              <a:spLocks/>
            </p:cNvSpPr>
            <p:nvPr/>
          </p:nvSpPr>
          <p:spPr bwMode="gray">
            <a:xfrm>
              <a:off x="154447" y="6603687"/>
              <a:ext cx="1697963" cy="9238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2" name="Rechteck 11"/>
            <p:cNvSpPr>
              <a:spLocks/>
            </p:cNvSpPr>
            <p:nvPr/>
          </p:nvSpPr>
          <p:spPr bwMode="gray">
            <a:xfrm>
              <a:off x="5249332" y="6603687"/>
              <a:ext cx="1697965" cy="92388"/>
            </a:xfrm>
            <a:prstGeom prst="rect">
              <a:avLst/>
            </a:prstGeom>
            <a:solidFill>
              <a:srgbClr val="F07F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 bwMode="gray">
            <a:xfrm>
              <a:off x="8645259" y="6603687"/>
              <a:ext cx="1697963" cy="923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 bwMode="gray">
            <a:xfrm>
              <a:off x="10343223" y="6603687"/>
              <a:ext cx="1697963" cy="9238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 bwMode="gray">
            <a:xfrm>
              <a:off x="6947296" y="6603687"/>
              <a:ext cx="1697963" cy="92388"/>
            </a:xfrm>
            <a:prstGeom prst="rect">
              <a:avLst/>
            </a:prstGeom>
            <a:solidFill>
              <a:srgbClr val="FFD8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 bwMode="gray">
            <a:xfrm>
              <a:off x="3551369" y="6603687"/>
              <a:ext cx="1697963" cy="92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28278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033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3187630D-F2BD-4EDC-8F8D-5B6EC93B8C71}" type="datetime1">
              <a:rPr lang="de-DE" noProof="0" smtClean="0"/>
              <a:t>15.03.2022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marL="0" indent="0">
              <a:buSzPct val="110000"/>
              <a:buFontTx/>
              <a:buNone/>
            </a:pPr>
            <a:r>
              <a:rPr lang="de-DE" noProof="0"/>
              <a:t>New Work - digitale Zukunft gestalten.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596A7E7-AC8A-4A39-933E-EBEF1CA02EA2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228600" y="1500283"/>
            <a:ext cx="9721849" cy="2682000"/>
          </a:xfrm>
        </p:spPr>
        <p:txBody>
          <a:bodyPr anchor="t" anchorCtr="0"/>
          <a:lstStyle>
            <a:lvl1pPr>
              <a:spcBef>
                <a:spcPts val="0"/>
              </a:spcBef>
              <a:defRPr sz="5400">
                <a:solidFill>
                  <a:srgbClr val="5A6E7B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5400">
                <a:solidFill>
                  <a:srgbClr val="5A6E7B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5400">
                <a:solidFill>
                  <a:srgbClr val="5A6E7B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5400">
                <a:solidFill>
                  <a:srgbClr val="5A6E7B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5400">
                <a:solidFill>
                  <a:srgbClr val="5A6E7B"/>
                </a:solidFill>
              </a:defRPr>
            </a:lvl5pPr>
            <a:lvl6pPr>
              <a:spcBef>
                <a:spcPts val="0"/>
              </a:spcBef>
              <a:defRPr sz="5400">
                <a:solidFill>
                  <a:srgbClr val="5A6E7B"/>
                </a:solidFill>
              </a:defRPr>
            </a:lvl6pPr>
            <a:lvl7pPr>
              <a:spcBef>
                <a:spcPts val="0"/>
              </a:spcBef>
              <a:defRPr sz="5400">
                <a:solidFill>
                  <a:srgbClr val="5A6E7B"/>
                </a:solidFill>
              </a:defRPr>
            </a:lvl7pPr>
            <a:lvl8pPr>
              <a:spcBef>
                <a:spcPts val="0"/>
              </a:spcBef>
              <a:defRPr sz="5400">
                <a:solidFill>
                  <a:srgbClr val="5A6E7B"/>
                </a:solidFill>
              </a:defRPr>
            </a:lvl8pPr>
            <a:lvl9pPr>
              <a:spcBef>
                <a:spcPts val="0"/>
              </a:spcBef>
              <a:defRPr sz="5400">
                <a:solidFill>
                  <a:srgbClr val="5A6E7B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9"/>
          </p:nvPr>
        </p:nvSpPr>
        <p:spPr bwMode="gray">
          <a:xfrm>
            <a:off x="228600" y="4229430"/>
            <a:ext cx="9721850" cy="868783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2800" smtClean="0">
                <a:solidFill>
                  <a:srgbClr val="5A6E7B"/>
                </a:solidFill>
              </a:defRPr>
            </a:lvl1pPr>
            <a:lvl2pPr>
              <a:spcBef>
                <a:spcPts val="0"/>
              </a:spcBef>
              <a:defRPr lang="de-DE" sz="2800" smtClean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lang="de-DE" sz="2800" kern="1200" noProof="0" dirty="0" smtClean="0">
                <a:solidFill>
                  <a:srgbClr val="5A6E7B"/>
                </a:solidFill>
                <a:latin typeface="+mn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FontTx/>
              <a:buNone/>
              <a:defRPr lang="de-DE" sz="2800" smtClean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lang="en-US" sz="2800">
                <a:solidFill>
                  <a:schemeClr val="accent1"/>
                </a:solidFill>
              </a:defRPr>
            </a:lvl5pPr>
            <a:lvl6pPr>
              <a:spcBef>
                <a:spcPts val="0"/>
              </a:spcBef>
              <a:defRPr sz="2800">
                <a:solidFill>
                  <a:schemeClr val="accent1"/>
                </a:solidFill>
              </a:defRPr>
            </a:lvl6pPr>
            <a:lvl7pPr>
              <a:spcBef>
                <a:spcPts val="0"/>
              </a:spcBef>
              <a:defRPr sz="2800">
                <a:solidFill>
                  <a:schemeClr val="accent1"/>
                </a:solidFill>
              </a:defRPr>
            </a:lvl7pPr>
            <a:lvl8pPr>
              <a:spcBef>
                <a:spcPts val="0"/>
              </a:spcBef>
              <a:defRPr sz="2800">
                <a:solidFill>
                  <a:schemeClr val="accent1"/>
                </a:solidFill>
              </a:defRPr>
            </a:lvl8pPr>
            <a:lvl9pPr>
              <a:spcBef>
                <a:spcPts val="0"/>
              </a:spcBef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93" y="5384180"/>
            <a:ext cx="629358" cy="629358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481" y="5384180"/>
            <a:ext cx="629358" cy="629358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962" y="5384180"/>
            <a:ext cx="629358" cy="629358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071" y="5361878"/>
            <a:ext cx="629358" cy="62935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9C28869-A3B4-4B19-8B3A-550CDBC5C68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15853" y="5455034"/>
            <a:ext cx="485121" cy="485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13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8600" y="568322"/>
            <a:ext cx="9721850" cy="86345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195CEA27-1AB7-426B-87B0-4119E0F03106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marL="0" indent="0">
              <a:buSzPct val="110000"/>
              <a:buFontTx/>
              <a:buNone/>
            </a:pPr>
            <a:r>
              <a:rPr lang="de-DE"/>
              <a:t>New Work - digitale Zukunft gestalten.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D596A7E7-AC8A-4A39-933E-EBEF1CA02E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814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EDFE50F-4D40-42D0-AB0E-E413B43F04D4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indent="0">
              <a:buSzPct val="110000"/>
              <a:buFontTx/>
              <a:buNone/>
            </a:pPr>
            <a:r>
              <a:rPr lang="de-DE"/>
              <a:t>New Work - digitale Zukunft gestalt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596A7E7-AC8A-4A39-933E-EBEF1CA02E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43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Farb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871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shpPict0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2307" y="453204"/>
            <a:ext cx="892968" cy="765122"/>
          </a:xfrm>
          <a:prstGeom prst="rect">
            <a:avLst/>
          </a:prstGeom>
        </p:spPr>
      </p:pic>
      <p:sp>
        <p:nvSpPr>
          <p:cNvPr id="9" name="Bildplatzhalter 1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53193" y="166008"/>
            <a:ext cx="11888788" cy="6525985"/>
          </a:xfrm>
          <a:custGeom>
            <a:avLst/>
            <a:gdLst>
              <a:gd name="connsiteX0" fmla="*/ 10831123 w 11888788"/>
              <a:gd name="connsiteY0" fmla="*/ 303790 h 6438900"/>
              <a:gd name="connsiteX1" fmla="*/ 10703560 w 11888788"/>
              <a:gd name="connsiteY1" fmla="*/ 1027390 h 6438900"/>
              <a:gd name="connsiteX2" fmla="*/ 11426778 w 11888788"/>
              <a:gd name="connsiteY2" fmla="*/ 1027390 h 6438900"/>
              <a:gd name="connsiteX3" fmla="*/ 11554341 w 11888788"/>
              <a:gd name="connsiteY3" fmla="*/ 303790 h 6438900"/>
              <a:gd name="connsiteX4" fmla="*/ 0 w 11888788"/>
              <a:gd name="connsiteY4" fmla="*/ 0 h 6438900"/>
              <a:gd name="connsiteX5" fmla="*/ 11888788 w 11888788"/>
              <a:gd name="connsiteY5" fmla="*/ 0 h 6438900"/>
              <a:gd name="connsiteX6" fmla="*/ 11888788 w 11888788"/>
              <a:gd name="connsiteY6" fmla="*/ 6438900 h 6438900"/>
              <a:gd name="connsiteX7" fmla="*/ 0 w 11888788"/>
              <a:gd name="connsiteY7" fmla="*/ 6438900 h 6438900"/>
              <a:gd name="connsiteX0" fmla="*/ 10831123 w 11888788"/>
              <a:gd name="connsiteY0" fmla="*/ 303790 h 6525985"/>
              <a:gd name="connsiteX1" fmla="*/ 10703560 w 11888788"/>
              <a:gd name="connsiteY1" fmla="*/ 1027390 h 6525985"/>
              <a:gd name="connsiteX2" fmla="*/ 11426778 w 11888788"/>
              <a:gd name="connsiteY2" fmla="*/ 1027390 h 6525985"/>
              <a:gd name="connsiteX3" fmla="*/ 11554341 w 11888788"/>
              <a:gd name="connsiteY3" fmla="*/ 303790 h 6525985"/>
              <a:gd name="connsiteX4" fmla="*/ 10831123 w 11888788"/>
              <a:gd name="connsiteY4" fmla="*/ 303790 h 6525985"/>
              <a:gd name="connsiteX5" fmla="*/ 0 w 11888788"/>
              <a:gd name="connsiteY5" fmla="*/ 0 h 6525985"/>
              <a:gd name="connsiteX6" fmla="*/ 11888788 w 11888788"/>
              <a:gd name="connsiteY6" fmla="*/ 0 h 6525985"/>
              <a:gd name="connsiteX7" fmla="*/ 11888788 w 11888788"/>
              <a:gd name="connsiteY7" fmla="*/ 6438900 h 6525985"/>
              <a:gd name="connsiteX8" fmla="*/ 0 w 11888788"/>
              <a:gd name="connsiteY8" fmla="*/ 6525985 h 6525985"/>
              <a:gd name="connsiteX9" fmla="*/ 0 w 11888788"/>
              <a:gd name="connsiteY9" fmla="*/ 0 h 6525985"/>
              <a:gd name="connsiteX0" fmla="*/ 10831123 w 11888788"/>
              <a:gd name="connsiteY0" fmla="*/ 303790 h 6525985"/>
              <a:gd name="connsiteX1" fmla="*/ 10703560 w 11888788"/>
              <a:gd name="connsiteY1" fmla="*/ 1027390 h 6525985"/>
              <a:gd name="connsiteX2" fmla="*/ 11426778 w 11888788"/>
              <a:gd name="connsiteY2" fmla="*/ 1027390 h 6525985"/>
              <a:gd name="connsiteX3" fmla="*/ 11554341 w 11888788"/>
              <a:gd name="connsiteY3" fmla="*/ 303790 h 6525985"/>
              <a:gd name="connsiteX4" fmla="*/ 10831123 w 11888788"/>
              <a:gd name="connsiteY4" fmla="*/ 303790 h 6525985"/>
              <a:gd name="connsiteX5" fmla="*/ 0 w 11888788"/>
              <a:gd name="connsiteY5" fmla="*/ 0 h 6525985"/>
              <a:gd name="connsiteX6" fmla="*/ 11888788 w 11888788"/>
              <a:gd name="connsiteY6" fmla="*/ 0 h 6525985"/>
              <a:gd name="connsiteX7" fmla="*/ 11888788 w 11888788"/>
              <a:gd name="connsiteY7" fmla="*/ 6525985 h 6525985"/>
              <a:gd name="connsiteX8" fmla="*/ 0 w 11888788"/>
              <a:gd name="connsiteY8" fmla="*/ 6525985 h 6525985"/>
              <a:gd name="connsiteX9" fmla="*/ 0 w 11888788"/>
              <a:gd name="connsiteY9" fmla="*/ 0 h 652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888788" h="6525985">
                <a:moveTo>
                  <a:pt x="10831123" y="303790"/>
                </a:moveTo>
                <a:lnTo>
                  <a:pt x="10703560" y="1027390"/>
                </a:lnTo>
                <a:lnTo>
                  <a:pt x="11426778" y="1027390"/>
                </a:lnTo>
                <a:lnTo>
                  <a:pt x="11554341" y="303790"/>
                </a:lnTo>
                <a:lnTo>
                  <a:pt x="10831123" y="303790"/>
                </a:lnTo>
                <a:close/>
                <a:moveTo>
                  <a:pt x="0" y="0"/>
                </a:moveTo>
                <a:lnTo>
                  <a:pt x="11888788" y="0"/>
                </a:lnTo>
                <a:lnTo>
                  <a:pt x="11888788" y="6525985"/>
                </a:lnTo>
                <a:lnTo>
                  <a:pt x="0" y="65259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lIns="108000" tIns="108000" r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r>
              <a:rPr lang="de-DE" dirty="0"/>
              <a:t>Bildplatzhalter anklicken, </a:t>
            </a:r>
            <a:br>
              <a:rPr lang="de-DE" dirty="0"/>
            </a:br>
            <a:r>
              <a:rPr lang="de-DE" dirty="0"/>
              <a:t>über Einfügen/Grafik Bild auswählen. </a:t>
            </a:r>
          </a:p>
        </p:txBody>
      </p:sp>
      <p:sp>
        <p:nvSpPr>
          <p:cNvPr id="5" name="Titel 2"/>
          <p:cNvSpPr>
            <a:spLocks noGrp="1"/>
          </p:cNvSpPr>
          <p:nvPr>
            <p:ph type="ctrTitle"/>
          </p:nvPr>
        </p:nvSpPr>
        <p:spPr>
          <a:xfrm>
            <a:off x="4438450" y="1700808"/>
            <a:ext cx="7268292" cy="1536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38450" y="3443526"/>
            <a:ext cx="7268292" cy="1059193"/>
          </a:xfrm>
        </p:spPr>
        <p:txBody>
          <a:bodyPr/>
          <a:lstStyle>
            <a:lvl1pPr marL="0" indent="0" algn="l" rtl="0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Dies ist ein Platzhaltertext für Ihren Untertitel</a:t>
            </a:r>
          </a:p>
          <a:p>
            <a:r>
              <a:rPr lang="de-DE" dirty="0"/>
              <a:t>Ort | Datum | Referent</a:t>
            </a:r>
          </a:p>
        </p:txBody>
      </p:sp>
    </p:spTree>
    <p:extLst>
      <p:ext uri="{BB962C8B-B14F-4D97-AF65-F5344CB8AC3E}">
        <p14:creationId xmlns:p14="http://schemas.microsoft.com/office/powerpoint/2010/main" val="344517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7D99346B-054B-4B10-A652-3174037F6935}" type="datetime1">
              <a:rPr lang="de-DE" noProof="0" smtClean="0"/>
              <a:t>15.03.2022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marL="0" indent="0">
              <a:buSzPct val="110000"/>
              <a:buFontTx/>
              <a:buNone/>
            </a:pPr>
            <a:r>
              <a:rPr lang="de-DE" noProof="0"/>
              <a:t>New Work - digitale Zukunft gestalten.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596A7E7-AC8A-4A39-933E-EBEF1CA02EA2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228601" y="1628775"/>
            <a:ext cx="9721850" cy="2691523"/>
          </a:xfrm>
        </p:spPr>
        <p:txBody>
          <a:bodyPr anchor="b" anchorCtr="0"/>
          <a:lstStyle>
            <a:lvl1pPr>
              <a:lnSpc>
                <a:spcPct val="90000"/>
              </a:lnSpc>
              <a:defRPr sz="5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3200">
                <a:solidFill>
                  <a:srgbClr val="5A6E7B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3200">
                <a:solidFill>
                  <a:srgbClr val="5A6E7B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3200">
                <a:solidFill>
                  <a:srgbClr val="5A6E7B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3200">
                <a:solidFill>
                  <a:srgbClr val="5A6E7B"/>
                </a:solidFill>
              </a:defRPr>
            </a:lvl5pPr>
            <a:lvl6pPr>
              <a:spcBef>
                <a:spcPts val="0"/>
              </a:spcBef>
              <a:defRPr sz="3200">
                <a:solidFill>
                  <a:srgbClr val="5A6E7B"/>
                </a:solidFill>
              </a:defRPr>
            </a:lvl6pPr>
            <a:lvl7pPr>
              <a:spcBef>
                <a:spcPts val="0"/>
              </a:spcBef>
              <a:defRPr sz="3200">
                <a:solidFill>
                  <a:srgbClr val="5A6E7B"/>
                </a:solidFill>
              </a:defRPr>
            </a:lvl7pPr>
            <a:lvl8pPr>
              <a:spcBef>
                <a:spcPts val="0"/>
              </a:spcBef>
              <a:defRPr sz="3200">
                <a:solidFill>
                  <a:srgbClr val="5A6E7B"/>
                </a:solidFill>
              </a:defRPr>
            </a:lvl8pPr>
            <a:lvl9pPr>
              <a:spcBef>
                <a:spcPts val="0"/>
              </a:spcBef>
              <a:defRPr sz="3200">
                <a:solidFill>
                  <a:srgbClr val="5A6E7B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3" name="shpPict03"/>
          <p:cNvSpPr/>
          <p:nvPr userDrawn="1"/>
        </p:nvSpPr>
        <p:spPr bwMode="gray">
          <a:xfrm>
            <a:off x="245256" y="4530369"/>
            <a:ext cx="3683958" cy="1800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noProof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87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8601" y="568322"/>
            <a:ext cx="9721850" cy="86345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96E2132-8368-46A5-9078-37205035445E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buSzPct val="110000"/>
            </a:pPr>
            <a:r>
              <a:rPr lang="de-DE"/>
              <a:t>New Work - digitale Zukunft gestalten.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596A7E7-AC8A-4A39-933E-EBEF1CA02EA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28601" y="1628776"/>
            <a:ext cx="9721850" cy="4776790"/>
          </a:xfrm>
        </p:spPr>
        <p:txBody>
          <a:bodyPr tIns="108000" rIns="72000" bIns="72000"/>
          <a:lstStyle>
            <a:lvl1pPr marL="446400" indent="-446400">
              <a:spcBef>
                <a:spcPts val="2000"/>
              </a:spcBef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446400" indent="-446400">
              <a:spcBef>
                <a:spcPts val="3600"/>
              </a:spcBef>
              <a:buFont typeface="+mj-lt"/>
              <a:buAutoNum type="arabicPeriod"/>
              <a:defRPr sz="1600">
                <a:solidFill>
                  <a:schemeClr val="tx1"/>
                </a:solidFill>
              </a:defRPr>
            </a:lvl2pPr>
            <a:lvl3pPr marL="446400" indent="-446400">
              <a:spcBef>
                <a:spcPts val="3600"/>
              </a:spcBef>
              <a:buFont typeface="+mj-lt"/>
              <a:buAutoNum type="arabicPeriod"/>
              <a:defRPr sz="1600">
                <a:solidFill>
                  <a:schemeClr val="tx1"/>
                </a:solidFill>
              </a:defRPr>
            </a:lvl3pPr>
            <a:lvl4pPr marL="446400" indent="-446400">
              <a:spcBef>
                <a:spcPts val="3600"/>
              </a:spcBef>
              <a:buFont typeface="+mj-lt"/>
              <a:buAutoNum type="arabicPeriod"/>
              <a:defRPr sz="1600">
                <a:solidFill>
                  <a:schemeClr val="tx1"/>
                </a:solidFill>
              </a:defRPr>
            </a:lvl4pPr>
            <a:lvl5pPr marL="446400" indent="-446400">
              <a:spcBef>
                <a:spcPts val="3600"/>
              </a:spcBef>
              <a:buFont typeface="+mj-lt"/>
              <a:buAutoNum type="arabicPeriod"/>
              <a:defRPr sz="1600" baseline="0">
                <a:solidFill>
                  <a:schemeClr val="tx1"/>
                </a:solidFill>
              </a:defRPr>
            </a:lvl5pPr>
            <a:lvl6pPr marL="446400" indent="-446400">
              <a:spcBef>
                <a:spcPts val="3600"/>
              </a:spcBef>
              <a:buFont typeface="+mj-lt"/>
              <a:buAutoNum type="arabicPeriod"/>
              <a:defRPr sz="1600">
                <a:solidFill>
                  <a:schemeClr val="tx1"/>
                </a:solidFill>
              </a:defRPr>
            </a:lvl6pPr>
            <a:lvl7pPr marL="446400" indent="-446400">
              <a:spcBef>
                <a:spcPts val="3600"/>
              </a:spcBef>
              <a:buFont typeface="+mj-lt"/>
              <a:buAutoNum type="arabicPeriod"/>
              <a:defRPr sz="1600">
                <a:solidFill>
                  <a:schemeClr val="tx1"/>
                </a:solidFill>
              </a:defRPr>
            </a:lvl7pPr>
            <a:lvl8pPr marL="446400" indent="-446400">
              <a:spcBef>
                <a:spcPts val="3600"/>
              </a:spcBef>
              <a:buFont typeface="+mj-lt"/>
              <a:buAutoNum type="arabicPeriod"/>
              <a:defRPr sz="1600">
                <a:solidFill>
                  <a:schemeClr val="tx1"/>
                </a:solidFill>
              </a:defRPr>
            </a:lvl8pPr>
            <a:lvl9pPr marL="446400" indent="-446400">
              <a:spcBef>
                <a:spcPts val="3600"/>
              </a:spcBef>
              <a:buFont typeface="+mj-lt"/>
              <a:buAutoNum type="arabicPeriod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0400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8600" y="568322"/>
            <a:ext cx="9721851" cy="86345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D93DCA-00A8-47D8-98CB-CF437D2B5529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buSzPct val="110000"/>
            </a:pPr>
            <a:r>
              <a:rPr lang="de-DE"/>
              <a:t>New Work - digitale Zukunft gestalten.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596A7E7-AC8A-4A39-933E-EBEF1CA02EA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28600" y="1628775"/>
            <a:ext cx="9721850" cy="477679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1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Fazi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8600" y="568322"/>
            <a:ext cx="9721851" cy="86345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1023C5-B944-42E5-BE25-3072E5591E8F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buSzPct val="110000"/>
            </a:pPr>
            <a:r>
              <a:rPr lang="de-DE"/>
              <a:t>New Work - digitale Zukunft gestalten.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596A7E7-AC8A-4A39-933E-EBEF1CA02EA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28600" y="1628775"/>
            <a:ext cx="9721850" cy="35735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228600" y="5837716"/>
            <a:ext cx="6511574" cy="578959"/>
          </a:xfrm>
          <a:blipFill dpi="0" rotWithShape="1">
            <a:blip r:embed="rId2"/>
            <a:srcRect/>
            <a:tile tx="0" ty="0" sx="85000" sy="50000" flip="none" algn="tl"/>
          </a:blipFill>
        </p:spPr>
        <p:txBody>
          <a:bodyPr wrap="square" lIns="108000" tIns="180000" rIns="108000" bIns="180000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9049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0114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8601" y="568322"/>
            <a:ext cx="9721850" cy="86345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1F9489-ECAB-48C1-8B49-E91149C90EA4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buSzPct val="110000"/>
            </a:pPr>
            <a:r>
              <a:rPr lang="de-DE"/>
              <a:t>New Work - digitale Zukunft gestalten.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596A7E7-AC8A-4A39-933E-EBEF1CA02EA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28600" y="1628775"/>
            <a:ext cx="5761038" cy="477679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5"/>
          </p:nvPr>
        </p:nvSpPr>
        <p:spPr bwMode="gray">
          <a:xfrm>
            <a:off x="6169026" y="1628775"/>
            <a:ext cx="5761038" cy="477679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758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004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8601" y="568322"/>
            <a:ext cx="9721850" cy="86345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0C77B52-12F5-4AA5-8864-B4D0A87CF2EB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buSzPct val="110000"/>
            </a:pPr>
            <a:r>
              <a:rPr lang="de-DE"/>
              <a:t>New Work - digitale Zukunft gestalten.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596A7E7-AC8A-4A39-933E-EBEF1CA02EA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28600" y="1628776"/>
            <a:ext cx="5761038" cy="477679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69025" y="1628775"/>
            <a:ext cx="5761038" cy="4776788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 dirty="0"/>
              <a:t>Bild einfügen durch Klicken auf das Icon in der Mitte</a:t>
            </a:r>
          </a:p>
        </p:txBody>
      </p:sp>
    </p:spTree>
    <p:extLst>
      <p:ext uri="{BB962C8B-B14F-4D97-AF65-F5344CB8AC3E}">
        <p14:creationId xmlns:p14="http://schemas.microsoft.com/office/powerpoint/2010/main" val="86595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8600" y="568322"/>
            <a:ext cx="9721850" cy="86345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28601" y="1628776"/>
            <a:ext cx="11701462" cy="4776790"/>
          </a:xfrm>
        </p:spPr>
        <p:txBody>
          <a:bodyPr/>
          <a:lstStyle>
            <a:lvl1pPr algn="l">
              <a:defRPr sz="1600"/>
            </a:lvl1pPr>
          </a:lstStyle>
          <a:p>
            <a:r>
              <a:rPr lang="de-DE" dirty="0"/>
              <a:t>Bild einfügen durch Klicken auf das Icon in der Mit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59540A98-3AE5-415C-AAEA-D1821760A231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marL="0" indent="0">
              <a:buSzPct val="110000"/>
              <a:buFontTx/>
              <a:buNone/>
            </a:pPr>
            <a:r>
              <a:rPr lang="de-DE"/>
              <a:t>New Work - digitale Zukunft gestalten.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596A7E7-AC8A-4A39-933E-EBEF1CA02E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2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62286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shpPict0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1032" y="161924"/>
            <a:ext cx="631030" cy="531701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28601" y="568322"/>
            <a:ext cx="9721850" cy="86345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28601" y="1628775"/>
            <a:ext cx="9721850" cy="47767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246065" y="6613525"/>
            <a:ext cx="532606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9899FCD-2F34-414E-9D9A-6831CE7B6551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26307" y="6613525"/>
            <a:ext cx="6810415" cy="82550"/>
          </a:xfrm>
          <a:prstGeom prst="rect">
            <a:avLst/>
          </a:prstGeom>
        </p:spPr>
        <p:txBody>
          <a:bodyPr vert="horz" lIns="54000" tIns="0" rIns="0" bIns="0" rtlCol="0" anchor="ctr"/>
          <a:lstStyle>
            <a:lvl1pPr marL="0" indent="0" algn="l">
              <a:buFontTx/>
              <a:buNone/>
              <a:defRPr sz="800">
                <a:solidFill>
                  <a:schemeClr val="tx1"/>
                </a:solidFill>
              </a:defRPr>
            </a:lvl1pPr>
            <a:lvl2pPr marL="0" indent="0">
              <a:defRPr sz="800"/>
            </a:lvl2pPr>
            <a:lvl3pPr marL="0" indent="0">
              <a:defRPr sz="800"/>
            </a:lvl3pPr>
            <a:lvl4pPr marL="0" indent="0">
              <a:defRPr sz="800"/>
            </a:lvl4pPr>
            <a:lvl5pPr marL="0" indent="0">
              <a:defRPr sz="800"/>
            </a:lvl5pPr>
            <a:lvl6pPr marL="0" indent="0">
              <a:defRPr sz="800"/>
            </a:lvl6pPr>
            <a:lvl7pPr marL="0" indent="0">
              <a:defRPr sz="800"/>
            </a:lvl7pPr>
            <a:lvl8pPr marL="0" indent="0">
              <a:defRPr sz="800"/>
            </a:lvl8pPr>
            <a:lvl9pPr marL="0" indent="0">
              <a:defRPr sz="800"/>
            </a:lvl9pPr>
          </a:lstStyle>
          <a:p>
            <a:pPr>
              <a:buSzPct val="110000"/>
            </a:pPr>
            <a:r>
              <a:rPr lang="de-DE"/>
              <a:t>New Work - digitale Zukunft gestalten.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38873" y="6613525"/>
            <a:ext cx="410240" cy="8255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D596A7E7-AC8A-4A39-933E-EBEF1CA02EA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0" name="shpPict02"/>
          <p:cNvGrpSpPr/>
          <p:nvPr/>
        </p:nvGrpSpPr>
        <p:grpSpPr>
          <a:xfrm>
            <a:off x="9381805" y="6499577"/>
            <a:ext cx="2174903" cy="194118"/>
            <a:chOff x="9381805" y="6499577"/>
            <a:chExt cx="2174903" cy="194118"/>
          </a:xfrm>
        </p:grpSpPr>
        <p:sp>
          <p:nvSpPr>
            <p:cNvPr id="17" name="Rechteck 16"/>
            <p:cNvSpPr>
              <a:spLocks noChangeAspect="1"/>
            </p:cNvSpPr>
            <p:nvPr/>
          </p:nvSpPr>
          <p:spPr bwMode="gray">
            <a:xfrm rot="16200000">
              <a:off x="11343946" y="6607776"/>
              <a:ext cx="123824" cy="48013"/>
            </a:xfrm>
            <a:prstGeom prst="rect">
              <a:avLst/>
            </a:prstGeom>
            <a:solidFill>
              <a:srgbClr val="CD4F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" name="Rechteck 17"/>
            <p:cNvSpPr>
              <a:spLocks noChangeAspect="1"/>
            </p:cNvSpPr>
            <p:nvPr/>
          </p:nvSpPr>
          <p:spPr bwMode="gray">
            <a:xfrm rot="16200000">
              <a:off x="11470790" y="6546657"/>
              <a:ext cx="123824" cy="480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9" name="Rechteck 18"/>
            <p:cNvSpPr>
              <a:spLocks noChangeAspect="1"/>
            </p:cNvSpPr>
            <p:nvPr/>
          </p:nvSpPr>
          <p:spPr bwMode="gray">
            <a:xfrm rot="16200000">
              <a:off x="10744405" y="6607776"/>
              <a:ext cx="123824" cy="480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" name="Rechteck 19"/>
            <p:cNvSpPr>
              <a:spLocks noChangeAspect="1"/>
            </p:cNvSpPr>
            <p:nvPr/>
          </p:nvSpPr>
          <p:spPr bwMode="gray">
            <a:xfrm rot="16200000">
              <a:off x="11111162" y="6561298"/>
              <a:ext cx="123824" cy="48013"/>
            </a:xfrm>
            <a:prstGeom prst="rect">
              <a:avLst/>
            </a:prstGeom>
            <a:solidFill>
              <a:srgbClr val="FFD8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1" name="Rechteck 20"/>
            <p:cNvSpPr>
              <a:spLocks noChangeAspect="1"/>
            </p:cNvSpPr>
            <p:nvPr/>
          </p:nvSpPr>
          <p:spPr bwMode="gray">
            <a:xfrm rot="16200000">
              <a:off x="10365825" y="6607776"/>
              <a:ext cx="123824" cy="480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2" name="Rechteck 21"/>
            <p:cNvSpPr>
              <a:spLocks noChangeAspect="1"/>
            </p:cNvSpPr>
            <p:nvPr/>
          </p:nvSpPr>
          <p:spPr bwMode="gray">
            <a:xfrm rot="16200000">
              <a:off x="10505371" y="6575234"/>
              <a:ext cx="123824" cy="480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" name="Rechteck 22"/>
            <p:cNvSpPr>
              <a:spLocks noChangeAspect="1"/>
            </p:cNvSpPr>
            <p:nvPr/>
          </p:nvSpPr>
          <p:spPr bwMode="gray">
            <a:xfrm rot="16200000">
              <a:off x="9543960" y="6574435"/>
              <a:ext cx="123824" cy="48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" name="Rechteck 23"/>
            <p:cNvSpPr>
              <a:spLocks noChangeAspect="1"/>
            </p:cNvSpPr>
            <p:nvPr/>
          </p:nvSpPr>
          <p:spPr bwMode="gray">
            <a:xfrm rot="16200000">
              <a:off x="9955195" y="6537482"/>
              <a:ext cx="123824" cy="48013"/>
            </a:xfrm>
            <a:prstGeom prst="rect">
              <a:avLst/>
            </a:prstGeom>
            <a:solidFill>
              <a:srgbClr val="F07F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Rechteck 24"/>
            <p:cNvSpPr>
              <a:spLocks noChangeAspect="1"/>
            </p:cNvSpPr>
            <p:nvPr/>
          </p:nvSpPr>
          <p:spPr bwMode="gray">
            <a:xfrm rot="16200000">
              <a:off x="9343900" y="6545862"/>
              <a:ext cx="123824" cy="48013"/>
            </a:xfrm>
            <a:prstGeom prst="rect">
              <a:avLst/>
            </a:prstGeom>
            <a:solidFill>
              <a:srgbClr val="5A6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7" name="shpLine"/>
          <p:cNvSpPr txBox="1"/>
          <p:nvPr/>
        </p:nvSpPr>
        <p:spPr bwMode="gray">
          <a:xfrm>
            <a:off x="783433" y="6583715"/>
            <a:ext cx="85749" cy="141286"/>
          </a:xfrm>
          <a:prstGeom prst="rect">
            <a:avLst/>
          </a:prstGeom>
          <a:noFill/>
        </p:spPr>
        <p:txBody>
          <a:bodyPr wrap="square" lIns="0" tIns="0" rIns="0" bIns="18000" rtlCol="0" anchor="ctr">
            <a:sp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296760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66" r:id="rId3"/>
    <p:sldLayoutId id="2147483672" r:id="rId4"/>
    <p:sldLayoutId id="2147483675" r:id="rId5"/>
    <p:sldLayoutId id="2147483673" r:id="rId6"/>
    <p:sldLayoutId id="2147483674" r:id="rId7"/>
    <p:sldLayoutId id="2147483696" r:id="rId8"/>
    <p:sldLayoutId id="2147483657" r:id="rId9"/>
    <p:sldLayoutId id="2147483677" r:id="rId10"/>
    <p:sldLayoutId id="2147483654" r:id="rId11"/>
    <p:sldLayoutId id="214748365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1200"/>
        </a:spcBef>
        <a:buSzPct val="100000"/>
        <a:buFontTx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26000" indent="-126000" algn="l" defTabSz="914400" rtl="0" eaLnBrk="1" latinLnBrk="0" hangingPunct="1">
        <a:spcBef>
          <a:spcPts val="800"/>
        </a:spcBef>
        <a:buSzPct val="100000"/>
        <a:buFontTx/>
        <a:buBlip>
          <a:blip r:embed="rId19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126000" algn="l" defTabSz="914400" rtl="0" eaLnBrk="1" latinLnBrk="0" hangingPunct="1">
        <a:spcBef>
          <a:spcPts val="400"/>
        </a:spcBef>
        <a:buSzPct val="100000"/>
        <a:buFontTx/>
        <a:buBlip>
          <a:blip r:embed="rId20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78000" indent="-126000" algn="l" defTabSz="914400" rtl="0" eaLnBrk="1" latinLnBrk="0" hangingPunct="1">
        <a:spcBef>
          <a:spcPts val="400"/>
        </a:spcBef>
        <a:buSzPct val="100000"/>
        <a:buFontTx/>
        <a:buBlip>
          <a:blip r:embed="rId21"/>
        </a:buBlip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1000"/>
        </a:spcBef>
        <a:buFont typeface="Arial" panose="020B0604020202020204" pitchFamily="34" charset="0"/>
        <a:buNone/>
        <a:defRPr sz="11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spcBef>
          <a:spcPts val="1000"/>
        </a:spcBef>
        <a:buFont typeface="Arial" panose="020B0604020202020204" pitchFamily="34" charset="0"/>
        <a:buNone/>
        <a:defRPr sz="11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000"/>
        </a:spcBef>
        <a:buFont typeface="Arial" panose="020B0604020202020204" pitchFamily="34" charset="0"/>
        <a:buNone/>
        <a:defRPr sz="11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44" userDrawn="1">
          <p15:clr>
            <a:srgbClr val="A4A3A4"/>
          </p15:clr>
        </p15:guide>
        <p15:guide id="2" pos="1278" userDrawn="1">
          <p15:clr>
            <a:srgbClr val="A4A3A4"/>
          </p15:clr>
        </p15:guide>
        <p15:guide id="3" pos="1392" userDrawn="1">
          <p15:clr>
            <a:srgbClr val="A4A3A4"/>
          </p15:clr>
        </p15:guide>
        <p15:guide id="4" pos="2639" userDrawn="1">
          <p15:clr>
            <a:srgbClr val="A4A3A4"/>
          </p15:clr>
        </p15:guide>
        <p15:guide id="5" pos="2526" userDrawn="1">
          <p15:clr>
            <a:srgbClr val="A4A3A4"/>
          </p15:clr>
        </p15:guide>
        <p15:guide id="6" pos="3886" userDrawn="1">
          <p15:clr>
            <a:srgbClr val="A4A3A4"/>
          </p15:clr>
        </p15:guide>
        <p15:guide id="7" pos="3773" userDrawn="1">
          <p15:clr>
            <a:srgbClr val="A4A3A4"/>
          </p15:clr>
        </p15:guide>
        <p15:guide id="8" pos="5134" userDrawn="1">
          <p15:clr>
            <a:srgbClr val="A4A3A4"/>
          </p15:clr>
        </p15:guide>
        <p15:guide id="9" pos="5020" userDrawn="1">
          <p15:clr>
            <a:srgbClr val="A4A3A4"/>
          </p15:clr>
        </p15:guide>
        <p15:guide id="10" pos="6381" userDrawn="1">
          <p15:clr>
            <a:srgbClr val="A4A3A4"/>
          </p15:clr>
        </p15:guide>
        <p15:guide id="11" pos="6268" userDrawn="1">
          <p15:clr>
            <a:srgbClr val="A4A3A4"/>
          </p15:clr>
        </p15:guide>
        <p15:guide id="12" orient="horz" pos="1026" userDrawn="1">
          <p15:clr>
            <a:srgbClr val="A4A3A4"/>
          </p15:clr>
        </p15:guide>
        <p15:guide id="13" orient="horz" pos="4042" userDrawn="1">
          <p15:clr>
            <a:srgbClr val="A4A3A4"/>
          </p15:clr>
        </p15:guide>
        <p15:guide id="14" pos="751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oderne Arbeitswelten in Unternehm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596A7E7-AC8A-4A39-933E-EBEF1CA02EA2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CADD46-6D8F-4C13-BDDB-82B7D38BA1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065" y="6613525"/>
            <a:ext cx="532606" cy="82550"/>
          </a:xfrm>
        </p:spPr>
        <p:txBody>
          <a:bodyPr/>
          <a:lstStyle/>
          <a:p>
            <a:fld id="{85B7C7CB-B562-46E6-8BE9-1626C87E2004}" type="datetime1">
              <a:rPr lang="de-DE" smtClean="0"/>
              <a:t>15.03.20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BE9CDA8-0257-4E97-AADE-4CE42AD36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5223" y="6613525"/>
            <a:ext cx="6810415" cy="82550"/>
          </a:xfrm>
        </p:spPr>
        <p:txBody>
          <a:bodyPr/>
          <a:lstStyle/>
          <a:p>
            <a:r>
              <a:rPr lang="de-DE"/>
              <a:t>New Work - digitale Zukunft gestalten.</a:t>
            </a:r>
            <a:endParaRPr lang="de-DE" dirty="0"/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8D94FBDC-2732-4FEB-84F4-7E1E9CD085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993" y="1635274"/>
            <a:ext cx="10440000" cy="4774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41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_Bechtle_Master_16_9_DE">
  <a:themeElements>
    <a:clrScheme name="Bechtle Farben NEU">
      <a:dk1>
        <a:srgbClr val="000000"/>
      </a:dk1>
      <a:lt1>
        <a:srgbClr val="FFFFFF"/>
      </a:lt1>
      <a:dk2>
        <a:srgbClr val="063A7E"/>
      </a:dk2>
      <a:lt2>
        <a:srgbClr val="DBDCDE"/>
      </a:lt2>
      <a:accent1>
        <a:srgbClr val="5D88A6"/>
      </a:accent1>
      <a:accent2>
        <a:srgbClr val="CDB9A9"/>
      </a:accent2>
      <a:accent3>
        <a:srgbClr val="7EC7DB"/>
      </a:accent3>
      <a:accent4>
        <a:srgbClr val="978F83"/>
      </a:accent4>
      <a:accent5>
        <a:srgbClr val="008A4F"/>
      </a:accent5>
      <a:accent6>
        <a:srgbClr val="51AA48"/>
      </a:accent6>
      <a:hlink>
        <a:srgbClr val="5A6E7B"/>
      </a:hlink>
      <a:folHlink>
        <a:srgbClr val="B33942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6350">
          <a:noFill/>
        </a:ln>
      </a:spPr>
      <a:bodyPr lIns="108000" tIns="108000" rIns="108000" bIns="108000" rtlCol="0" anchor="ctr"/>
      <a:lstStyle>
        <a:defPPr algn="ctr">
          <a:defRPr sz="160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Knallgelb">
      <a:srgbClr val="FFD809"/>
    </a:custClr>
    <a:custClr name="Orange">
      <a:srgbClr val="F07F0A"/>
    </a:custClr>
    <a:custClr name="Kaminrot">
      <a:srgbClr val="CD4F45"/>
    </a:custClr>
    <a:custClr name="Wintergrau">
      <a:srgbClr val="5A6E7B"/>
    </a:custClr>
    <a:custClr name="Saharabeige">
      <a:srgbClr val="F1C37A"/>
    </a:custClr>
  </a:custClrLst>
  <a:extLst>
    <a:ext uri="{05A4C25C-085E-4340-85A3-A5531E510DB2}">
      <thm15:themeFamily xmlns:thm15="http://schemas.microsoft.com/office/thememl/2012/main" name="2019_Bechtle_Master_16_9_DE.pptx" id="{D13D0EA8-9AC9-4D54-8C3A-340AF1CAF09E}" vid="{443E2AD6-9F42-4E00-A653-0C6E19F6ED28}"/>
    </a:ext>
  </a:extLst>
</a:theme>
</file>

<file path=ppt/theme/theme2.xml><?xml version="1.0" encoding="utf-8"?>
<a:theme xmlns:a="http://schemas.openxmlformats.org/drawingml/2006/main" name="Larissa">
  <a:themeElements>
    <a:clrScheme name="Bechtle Farben NEU">
      <a:dk1>
        <a:srgbClr val="000000"/>
      </a:dk1>
      <a:lt1>
        <a:srgbClr val="FFFFFF"/>
      </a:lt1>
      <a:dk2>
        <a:srgbClr val="063A7E"/>
      </a:dk2>
      <a:lt2>
        <a:srgbClr val="DBDCDE"/>
      </a:lt2>
      <a:accent1>
        <a:srgbClr val="5D88A6"/>
      </a:accent1>
      <a:accent2>
        <a:srgbClr val="CDB9A9"/>
      </a:accent2>
      <a:accent3>
        <a:srgbClr val="7EC7DB"/>
      </a:accent3>
      <a:accent4>
        <a:srgbClr val="978F83"/>
      </a:accent4>
      <a:accent5>
        <a:srgbClr val="008A4F"/>
      </a:accent5>
      <a:accent6>
        <a:srgbClr val="51AA48"/>
      </a:accent6>
      <a:hlink>
        <a:srgbClr val="5A6E7B"/>
      </a:hlink>
      <a:folHlink>
        <a:srgbClr val="B3394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9_Bechtle_Master_16_9_DE</Template>
  <TotalTime>0</TotalTime>
  <Words>14</Words>
  <Application>Microsoft Office PowerPoint</Application>
  <PresentationFormat>Benutzerdefiniert</PresentationFormat>
  <Paragraphs>4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2017_Bechtle_Master_16_9_DE</vt:lpstr>
      <vt:lpstr>think-cell Folie</vt:lpstr>
      <vt:lpstr>Moderne Arbeitswelten in Unternehmen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zhalter Titel mit Farbbalken.</dc:title>
  <dc:creator>Gigel, Tatjana</dc:creator>
  <cp:lastModifiedBy>Heckner, Claus</cp:lastModifiedBy>
  <cp:revision>28</cp:revision>
  <cp:lastPrinted>2017-02-02T10:16:10Z</cp:lastPrinted>
  <dcterms:created xsi:type="dcterms:W3CDTF">2020-01-28T15:10:07Z</dcterms:created>
  <dcterms:modified xsi:type="dcterms:W3CDTF">2022-03-15T16:49:42Z</dcterms:modified>
</cp:coreProperties>
</file>